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4"/>
  </p:sldMasterIdLst>
  <p:notesMasterIdLst>
    <p:notesMasterId r:id="rId6"/>
  </p:notesMasterIdLst>
  <p:sldIdLst>
    <p:sldId id="11164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0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67" d="100"/>
          <a:sy n="67" d="100"/>
        </p:scale>
        <p:origin x="60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8F3932-09D2-47FD-A465-121A6E824CA8}" type="datetimeFigureOut">
              <a:rPr lang="en-US" smtClean="0"/>
              <a:t>7/2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B02558-C3D4-46E0-8A61-B376ADD9F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394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2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1546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12" name="Graphic 9">
            <a:extLst>
              <a:ext uri="{FF2B5EF4-FFF2-40B4-BE49-F238E27FC236}">
                <a16:creationId xmlns:a16="http://schemas.microsoft.com/office/drawing/2014/main" id="{BD19608F-DF1F-4D3C-9AA5-CDC0B2F07E7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06831" y="6429449"/>
            <a:ext cx="1412969" cy="31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98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">
            <a:extLst>
              <a:ext uri="{FF2B5EF4-FFF2-40B4-BE49-F238E27FC236}">
                <a16:creationId xmlns:a16="http://schemas.microsoft.com/office/drawing/2014/main" id="{56C39215-0224-432C-8696-9C68A88892F7}"/>
              </a:ext>
            </a:extLst>
          </p:cNvPr>
          <p:cNvSpPr>
            <a:spLocks/>
          </p:cNvSpPr>
          <p:nvPr/>
        </p:nvSpPr>
        <p:spPr bwMode="auto">
          <a:xfrm rot="16200000" flipH="1">
            <a:off x="-1021777" y="2206252"/>
            <a:ext cx="5692995" cy="3649440"/>
          </a:xfrm>
          <a:custGeom>
            <a:avLst/>
            <a:gdLst>
              <a:gd name="T0" fmla="*/ 0 w 1736"/>
              <a:gd name="T1" fmla="*/ 0 h 1176"/>
              <a:gd name="T2" fmla="*/ 1146 w 1736"/>
              <a:gd name="T3" fmla="*/ 1100 h 1176"/>
              <a:gd name="T4" fmla="*/ 1736 w 1736"/>
              <a:gd name="T5" fmla="*/ 894 h 1176"/>
              <a:gd name="T6" fmla="*/ 1736 w 1736"/>
              <a:gd name="T7" fmla="*/ 0 h 1176"/>
              <a:gd name="T8" fmla="*/ 0 w 1736"/>
              <a:gd name="T9" fmla="*/ 0 h 1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36" h="1176">
                <a:moveTo>
                  <a:pt x="0" y="0"/>
                </a:moveTo>
                <a:cubicBezTo>
                  <a:pt x="189" y="486"/>
                  <a:pt x="1273" y="633"/>
                  <a:pt x="1146" y="1100"/>
                </a:cubicBezTo>
                <a:cubicBezTo>
                  <a:pt x="1393" y="1176"/>
                  <a:pt x="1589" y="1062"/>
                  <a:pt x="1736" y="894"/>
                </a:cubicBezTo>
                <a:cubicBezTo>
                  <a:pt x="1736" y="0"/>
                  <a:pt x="1736" y="0"/>
                  <a:pt x="173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84387" y="165795"/>
            <a:ext cx="471310" cy="5104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51B56E-1259-4BC4-9B5B-09EAAF464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303" y="505342"/>
            <a:ext cx="3101693" cy="821252"/>
          </a:xfrm>
        </p:spPr>
        <p:txBody>
          <a:bodyPr/>
          <a:lstStyle/>
          <a:p>
            <a:pPr algn="ctr"/>
            <a:r>
              <a:rPr lang="en-US" sz="20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NISH KUMAR S</a:t>
            </a:r>
            <a:br>
              <a:rPr lang="en-US" b="1" dirty="0">
                <a:solidFill>
                  <a:schemeClr val="bg1"/>
                </a:solidFill>
              </a:rPr>
            </a:br>
            <a:r>
              <a:rPr lang="en-US" sz="1400" b="1" dirty="0">
                <a:solidFill>
                  <a:srgbClr val="57585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alyst/Software Engineer India</a:t>
            </a:r>
            <a:br>
              <a:rPr lang="en-US" sz="1400" dirty="0"/>
            </a:br>
            <a:endParaRPr lang="en-US" sz="1400" dirty="0"/>
          </a:p>
        </p:txBody>
      </p:sp>
      <p:sp>
        <p:nvSpPr>
          <p:cNvPr id="59" name="Rectangle 1447">
            <a:extLst>
              <a:ext uri="{FF2B5EF4-FFF2-40B4-BE49-F238E27FC236}">
                <a16:creationId xmlns:a16="http://schemas.microsoft.com/office/drawing/2014/main" id="{D0E4E2DB-7FAC-488B-9DB4-8DFBFE244C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1830" y="150721"/>
            <a:ext cx="4189285" cy="643253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lIns="45720" rIns="45720" anchor="t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ent Experience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presented the group of 5 members as group lead and led the group throughout the entire Capgemini training successfully.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accent3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ining Project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3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cription: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mbridge Dictionary</a:t>
            </a:r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for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utomation Testing which is related to getting meanings, learning grammar and getting translation.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academy website for Manual Testing which is related to course trainings.</a:t>
            </a:r>
          </a:p>
          <a:p>
            <a:pPr marR="0" lvl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R="0" lvl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ponsibilities:</a:t>
            </a:r>
          </a:p>
          <a:p>
            <a:pPr marR="0" lvl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 a Tester, I was involved in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volved in various phases of Software Testing Life Cycle(STLC) of the application like Test Scenario, Test Case, Test Execution, Defect Tracking, Execution Report.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ated a Template for User stories, scenarios and Test cases.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 Eclipse IDE automated the Test cases by using Selenium testing tool.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ed on TestNG cucumber framework for BDD approach</a:t>
            </a:r>
          </a:p>
          <a:p>
            <a:pPr marL="171450" marR="0" lvl="0" indent="-17145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nerated test results in the form of various reports.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                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6C7298E-EF21-478B-BE47-C3DC269AC04B}"/>
              </a:ext>
            </a:extLst>
          </p:cNvPr>
          <p:cNvSpPr/>
          <p:nvPr/>
        </p:nvSpPr>
        <p:spPr>
          <a:xfrm>
            <a:off x="7728980" y="245435"/>
            <a:ext cx="60960" cy="24384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70AD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Rectangle 1447">
            <a:extLst>
              <a:ext uri="{FF2B5EF4-FFF2-40B4-BE49-F238E27FC236}">
                <a16:creationId xmlns:a16="http://schemas.microsoft.com/office/drawing/2014/main" id="{DE36DDA0-A10A-4F55-99C6-646D210FBD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9546" y="150721"/>
            <a:ext cx="3904683" cy="33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lIns="45720" rIns="45720" anchor="t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mmar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A675EEC-CFB0-4CF3-9956-0194353A2461}"/>
              </a:ext>
            </a:extLst>
          </p:cNvPr>
          <p:cNvSpPr/>
          <p:nvPr/>
        </p:nvSpPr>
        <p:spPr>
          <a:xfrm>
            <a:off x="3649441" y="198078"/>
            <a:ext cx="60960" cy="24384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70AD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332784C5-EE9D-4D2B-BEAF-9F04290B9B56}"/>
              </a:ext>
            </a:extLst>
          </p:cNvPr>
          <p:cNvSpPr/>
          <p:nvPr/>
        </p:nvSpPr>
        <p:spPr>
          <a:xfrm>
            <a:off x="838906" y="2149234"/>
            <a:ext cx="2245307" cy="216656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213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9C214DA3-7C3D-4428-840D-2B0DDA91635B}"/>
              </a:ext>
            </a:extLst>
          </p:cNvPr>
          <p:cNvSpPr/>
          <p:nvPr/>
        </p:nvSpPr>
        <p:spPr>
          <a:xfrm>
            <a:off x="3648533" y="1970772"/>
            <a:ext cx="60960" cy="24384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70AD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Rectangle 1447">
            <a:extLst>
              <a:ext uri="{FF2B5EF4-FFF2-40B4-BE49-F238E27FC236}">
                <a16:creationId xmlns:a16="http://schemas.microsoft.com/office/drawing/2014/main" id="{5E36D6B7-E151-4DEB-A7D8-52C0094E2A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9546" y="1898863"/>
            <a:ext cx="979055" cy="33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lIns="45720" rIns="45720" anchor="t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ill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Rectangle 1447">
            <a:extLst>
              <a:ext uri="{FF2B5EF4-FFF2-40B4-BE49-F238E27FC236}">
                <a16:creationId xmlns:a16="http://schemas.microsoft.com/office/drawing/2014/main" id="{983A979A-38FE-42F5-952D-AAD190126A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7" y="4613556"/>
            <a:ext cx="3450552" cy="140807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lIns="45720" rIns="4572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Location: </a:t>
            </a:r>
            <a:r>
              <a:rPr lang="en-US" sz="105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umbai,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Indi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Years’ Experience:</a:t>
            </a:r>
            <a:r>
              <a:rPr lang="en-US" sz="11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3 months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A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</a:t>
            </a:r>
            <a:r>
              <a:rPr kumimoji="0" lang="en-A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t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i</a:t>
            </a:r>
            <a:r>
              <a:rPr kumimoji="0" lang="en-A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v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e</a:t>
            </a:r>
            <a:r>
              <a:rPr kumimoji="0" lang="en-A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apgemini client industry experience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V&amp;V Automation Testing (Selenium</a:t>
            </a:r>
            <a:r>
              <a:rPr lang="en-US" sz="11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Java) 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1" name="Rectangle 1447">
            <a:extLst>
              <a:ext uri="{FF2B5EF4-FFF2-40B4-BE49-F238E27FC236}">
                <a16:creationId xmlns:a16="http://schemas.microsoft.com/office/drawing/2014/main" id="{CF8DA645-057D-4158-ACD2-6FB44838EE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5905" y="544646"/>
            <a:ext cx="4122974" cy="118494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lIns="45720" rIns="45720" anchor="t">
            <a:spAutoFit/>
          </a:bodyPr>
          <a:lstStyle/>
          <a:p>
            <a:pPr marL="171450" marR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+mj-lt"/>
                <a:ea typeface="Times New Roman" panose="02020603050405020304" pitchFamily="18" charset="0"/>
              </a:rPr>
              <a:t>A Hardworking and Highly Motivated </a:t>
            </a:r>
            <a:r>
              <a:rPr lang="en-US" sz="1100" dirty="0">
                <a:latin typeface="+mj-lt"/>
                <a:ea typeface="Times New Roman" panose="02020603050405020304" pitchFamily="18" charset="0"/>
              </a:rPr>
              <a:t>Fresher </a:t>
            </a:r>
            <a:r>
              <a:rPr lang="en-US" sz="1100" dirty="0">
                <a:effectLst/>
                <a:latin typeface="+mj-lt"/>
                <a:ea typeface="Times New Roman" panose="02020603050405020304" pitchFamily="18" charset="0"/>
              </a:rPr>
              <a:t>with the skills of Manual Testing, Automation Testing, Core Java, Jira, TestNG,</a:t>
            </a:r>
            <a:r>
              <a:rPr lang="en-US" sz="1100" spc="-120" dirty="0">
                <a:effectLst/>
                <a:latin typeface="+mj-lt"/>
                <a:ea typeface="Times New Roman" panose="02020603050405020304" pitchFamily="18" charset="0"/>
              </a:rPr>
              <a:t> </a:t>
            </a:r>
            <a:r>
              <a:rPr lang="en-US" sz="1100" dirty="0">
                <a:effectLst/>
                <a:latin typeface="+mj-lt"/>
                <a:ea typeface="Times New Roman" panose="02020603050405020304" pitchFamily="18" charset="0"/>
              </a:rPr>
              <a:t>Cucumber, POM, Page Factor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>
                <a:solidFill>
                  <a:prstClr val="black"/>
                </a:solidFill>
                <a:latin typeface="Verdana"/>
              </a:rPr>
              <a:t>Seeking an opportunity to obtain a position where I can utilize my </a:t>
            </a:r>
            <a:r>
              <a:rPr lang="en-IN" sz="1100" dirty="0">
                <a:solidFill>
                  <a:prstClr val="black"/>
                </a:solidFill>
                <a:latin typeface="Verdana"/>
              </a:rPr>
              <a:t>technical and logical skills and to get a good outcome from a task which is assigned to m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Rectangle 1447">
            <a:extLst>
              <a:ext uri="{FF2B5EF4-FFF2-40B4-BE49-F238E27FC236}">
                <a16:creationId xmlns:a16="http://schemas.microsoft.com/office/drawing/2014/main" id="{5B8B2DEE-30C2-43F1-A61E-1803FAE6DB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0074" y="2214612"/>
            <a:ext cx="3832808" cy="468589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lIns="45720" r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rgbClr val="B10034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Verdana"/>
                <a:ea typeface="+mn-ea"/>
                <a:cs typeface="Calibri" pitchFamily="34" charset="0"/>
              </a:rPr>
              <a:t>Competenc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70AD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A Automation :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elenium webdriver , </a:t>
            </a:r>
            <a:r>
              <a:rPr lang="en-US" sz="1100" dirty="0">
                <a:solidFill>
                  <a:prstClr val="black"/>
                </a:solidFill>
                <a:latin typeface="Verdana"/>
              </a:rPr>
              <a:t>BDD Cucumber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70AD"/>
              </a:buClr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prstClr val="black"/>
                </a:solidFill>
                <a:latin typeface="Verdana"/>
              </a:rPr>
              <a:t>Languages: </a:t>
            </a:r>
            <a:r>
              <a:rPr lang="en-US" sz="1100" dirty="0">
                <a:solidFill>
                  <a:prstClr val="black"/>
                </a:solidFill>
                <a:latin typeface="Verdana"/>
              </a:rPr>
              <a:t>Core Jav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70AD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ols: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IRA, Eclip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70AD"/>
              </a:buClr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prstClr val="black"/>
                </a:solidFill>
                <a:latin typeface="Verdana"/>
              </a:rPr>
              <a:t>Databases:</a:t>
            </a:r>
            <a:r>
              <a:rPr lang="en-US" sz="1100" dirty="0">
                <a:solidFill>
                  <a:prstClr val="black"/>
                </a:solidFill>
                <a:latin typeface="Verdana"/>
              </a:rPr>
              <a:t> SQ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70AD"/>
              </a:buClr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prstClr val="black"/>
                </a:solidFill>
                <a:latin typeface="Verdana"/>
              </a:rPr>
              <a:t>Other: </a:t>
            </a:r>
            <a:r>
              <a:rPr lang="en-US" sz="1100" dirty="0">
                <a:solidFill>
                  <a:prstClr val="black"/>
                </a:solidFill>
                <a:latin typeface="Verdana"/>
              </a:rPr>
              <a:t>Manual Testing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70AD"/>
              </a:buClr>
              <a:defRPr/>
            </a:pPr>
            <a:r>
              <a:rPr lang="en-US" sz="1600" b="1" dirty="0">
                <a:solidFill>
                  <a:srgbClr val="12ABD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70AD"/>
              </a:buClr>
              <a:defRPr/>
            </a:pPr>
            <a:r>
              <a:rPr lang="en-US" sz="1600" b="1" dirty="0">
                <a:solidFill>
                  <a:srgbClr val="12ABD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inings/Certification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Undergone training in Software Testing from </a:t>
            </a:r>
            <a:r>
              <a:rPr lang="en-US" sz="1100" dirty="0" err="1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QSpiders</a:t>
            </a: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, Bangalore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IN" sz="1100" dirty="0"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ompleted training in SQL, Manual Testing, Core Java and Selenium from Capgemini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1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Verdana" panose="020B0604030504040204" pitchFamily="34" charset="0"/>
                <a:ea typeface="Verdana" panose="020B0604030504040204" pitchFamily="34" charset="0"/>
              </a:rPr>
              <a:t>I am certified on Get Started With JIRA, Agile Software Development and Automate an e-commerce web application using Selenium and java from Coursera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1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70AD"/>
              </a:buClr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70AD"/>
              </a:buClr>
              <a:buSzTx/>
              <a:buFontTx/>
              <a:buNone/>
              <a:tabLst/>
              <a:defRPr/>
            </a:pPr>
            <a:endParaRPr lang="en-US" sz="100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D1FB97C-53CE-4DEC-BAAE-E79E643F8382}"/>
              </a:ext>
            </a:extLst>
          </p:cNvPr>
          <p:cNvSpPr>
            <a:spLocks/>
          </p:cNvSpPr>
          <p:nvPr/>
        </p:nvSpPr>
        <p:spPr>
          <a:xfrm>
            <a:off x="7842293" y="1615017"/>
            <a:ext cx="4113404" cy="2247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38C3F2B-1CE5-4E4A-AAD6-4CE295FD1166}"/>
              </a:ext>
            </a:extLst>
          </p:cNvPr>
          <p:cNvSpPr>
            <a:spLocks/>
          </p:cNvSpPr>
          <p:nvPr/>
        </p:nvSpPr>
        <p:spPr>
          <a:xfrm>
            <a:off x="192720" y="525178"/>
            <a:ext cx="2830264" cy="34859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AEF9E2A-767D-48C0-B1BD-9D30E42C307E}"/>
              </a:ext>
            </a:extLst>
          </p:cNvPr>
          <p:cNvSpPr>
            <a:spLocks/>
          </p:cNvSpPr>
          <p:nvPr/>
        </p:nvSpPr>
        <p:spPr>
          <a:xfrm>
            <a:off x="7911830" y="4119033"/>
            <a:ext cx="4113404" cy="2247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2C0D5AE5-02BE-40E4-8607-257516142196}"/>
              </a:ext>
            </a:extLst>
          </p:cNvPr>
          <p:cNvSpPr/>
          <p:nvPr/>
        </p:nvSpPr>
        <p:spPr>
          <a:xfrm>
            <a:off x="3599107" y="4491636"/>
            <a:ext cx="60960" cy="24384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70AD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25384DC3-8A50-4A04-8BAC-DAA1D50D803A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529" y="1851477"/>
            <a:ext cx="2313869" cy="25395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38481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1E53BF59-8A3C-4B78-911D-5EA86134657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D931E64D632140A083060201A90484" ma:contentTypeVersion="13" ma:contentTypeDescription="Create a new document." ma:contentTypeScope="" ma:versionID="ef8e97459f5e10c534f3a1a8d021173b">
  <xsd:schema xmlns:xsd="http://www.w3.org/2001/XMLSchema" xmlns:xs="http://www.w3.org/2001/XMLSchema" xmlns:p="http://schemas.microsoft.com/office/2006/metadata/properties" xmlns:ns3="7281bcf0-2241-4d32-aa17-18b3b01704ca" xmlns:ns4="4c20d0a3-7728-4a00-9c27-debd3afae8e8" targetNamespace="http://schemas.microsoft.com/office/2006/metadata/properties" ma:root="true" ma:fieldsID="82fc79d8a3aaa0927c7896c4f4df49f4" ns3:_="" ns4:_="">
    <xsd:import namespace="7281bcf0-2241-4d32-aa17-18b3b01704ca"/>
    <xsd:import namespace="4c20d0a3-7728-4a00-9c27-debd3afae8e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81bcf0-2241-4d32-aa17-18b3b01704c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20d0a3-7728-4a00-9c27-debd3afae8e8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629562-A1A4-4D1D-B7D1-93A2907F06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81bcf0-2241-4d32-aa17-18b3b01704ca"/>
    <ds:schemaRef ds:uri="4c20d0a3-7728-4a00-9c27-debd3afae8e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47C9834-27F7-44CC-87EC-2C5137C0122B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4c20d0a3-7728-4a00-9c27-debd3afae8e8"/>
    <ds:schemaRef ds:uri="http://purl.org/dc/elements/1.1/"/>
    <ds:schemaRef ds:uri="http://schemas.microsoft.com/office/2006/metadata/properties"/>
    <ds:schemaRef ds:uri="7281bcf0-2241-4d32-aa17-18b3b01704ca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C4FEB64-ED55-4ABC-AB16-E0D68C3ECB0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98</TotalTime>
  <Words>325</Words>
  <Application>Microsoft Office PowerPoint</Application>
  <PresentationFormat>Widescreen</PresentationFormat>
  <Paragraphs>4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Times New Roman</vt:lpstr>
      <vt:lpstr>Verdana</vt:lpstr>
      <vt:lpstr>Wingdings</vt:lpstr>
      <vt:lpstr>Capgemini Master</vt:lpstr>
      <vt:lpstr>think-cell Slide</vt:lpstr>
      <vt:lpstr>MANISH KUMAR S Analyst/Software Engineer India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ulraj Chellappa Media Solution Architect</dc:title>
  <dc:creator>Chellappa, Paulraj</dc:creator>
  <cp:lastModifiedBy>Kumar S, Manish</cp:lastModifiedBy>
  <cp:revision>311</cp:revision>
  <dcterms:created xsi:type="dcterms:W3CDTF">2021-03-17T12:17:58Z</dcterms:created>
  <dcterms:modified xsi:type="dcterms:W3CDTF">2022-07-22T08:10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D931E64D632140A083060201A90484</vt:lpwstr>
  </property>
</Properties>
</file>